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5"/>
  </p:notesMasterIdLst>
  <p:sldIdLst>
    <p:sldId id="2147479206" r:id="rId2"/>
    <p:sldId id="2147479207" r:id="rId3"/>
    <p:sldId id="214747920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E57CDE-EF07-4E15-AAD1-13F7466EC88C}" v="74" dt="2025-04-26T15:11:21.3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>
        <p:scale>
          <a:sx n="53" d="100"/>
          <a:sy n="53" d="100"/>
        </p:scale>
        <p:origin x="1176" y="41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hya ElAli" userId="06a635446fb54665" providerId="LiveId" clId="{A4E57CDE-EF07-4E15-AAD1-13F7466EC88C}"/>
    <pc:docChg chg="undo custSel delSld modSld">
      <pc:chgData name="Yahya ElAli" userId="06a635446fb54665" providerId="LiveId" clId="{A4E57CDE-EF07-4E15-AAD1-13F7466EC88C}" dt="2025-04-26T15:12:39.480" v="4525" actId="47"/>
      <pc:docMkLst>
        <pc:docMk/>
      </pc:docMkLst>
      <pc:sldChg chg="del">
        <pc:chgData name="Yahya ElAli" userId="06a635446fb54665" providerId="LiveId" clId="{A4E57CDE-EF07-4E15-AAD1-13F7466EC88C}" dt="2025-04-26T07:55:43.857" v="66" actId="47"/>
        <pc:sldMkLst>
          <pc:docMk/>
          <pc:sldMk cId="1933572457" sldId="2147479203"/>
        </pc:sldMkLst>
      </pc:sldChg>
      <pc:sldChg chg="addSp delSp modSp del mod">
        <pc:chgData name="Yahya ElAli" userId="06a635446fb54665" providerId="LiveId" clId="{A4E57CDE-EF07-4E15-AAD1-13F7466EC88C}" dt="2025-04-26T15:12:39.480" v="4525" actId="47"/>
        <pc:sldMkLst>
          <pc:docMk/>
          <pc:sldMk cId="2174555944" sldId="2147479204"/>
        </pc:sldMkLst>
        <pc:spChg chg="del">
          <ac:chgData name="Yahya ElAli" userId="06a635446fb54665" providerId="LiveId" clId="{A4E57CDE-EF07-4E15-AAD1-13F7466EC88C}" dt="2025-04-26T13:11:28.852" v="459" actId="478"/>
          <ac:spMkLst>
            <pc:docMk/>
            <pc:sldMk cId="2174555944" sldId="2147479204"/>
            <ac:spMk id="3" creationId="{9C9DAEA3-64B0-A86D-427B-A85F4CA305A0}"/>
          </ac:spMkLst>
        </pc:spChg>
        <pc:spChg chg="add mod topLvl">
          <ac:chgData name="Yahya ElAli" userId="06a635446fb54665" providerId="LiveId" clId="{A4E57CDE-EF07-4E15-AAD1-13F7466EC88C}" dt="2025-04-26T13:18:07.063" v="642" actId="165"/>
          <ac:spMkLst>
            <pc:docMk/>
            <pc:sldMk cId="2174555944" sldId="2147479204"/>
            <ac:spMk id="8" creationId="{C6E803CA-BA6B-4203-7E8F-9333E020FF67}"/>
          </ac:spMkLst>
        </pc:spChg>
        <pc:spChg chg="add mod">
          <ac:chgData name="Yahya ElAli" userId="06a635446fb54665" providerId="LiveId" clId="{A4E57CDE-EF07-4E15-AAD1-13F7466EC88C}" dt="2025-04-26T13:16:49.401" v="612" actId="120"/>
          <ac:spMkLst>
            <pc:docMk/>
            <pc:sldMk cId="2174555944" sldId="2147479204"/>
            <ac:spMk id="9" creationId="{EF362F61-2432-D78A-B2D5-65E99552AA04}"/>
          </ac:spMkLst>
        </pc:spChg>
        <pc:spChg chg="add mod topLvl">
          <ac:chgData name="Yahya ElAli" userId="06a635446fb54665" providerId="LiveId" clId="{A4E57CDE-EF07-4E15-AAD1-13F7466EC88C}" dt="2025-04-26T13:18:07.063" v="642" actId="165"/>
          <ac:spMkLst>
            <pc:docMk/>
            <pc:sldMk cId="2174555944" sldId="2147479204"/>
            <ac:spMk id="10" creationId="{DE182E3F-FCD4-98CD-58F6-AB59A892A9D7}"/>
          </ac:spMkLst>
        </pc:spChg>
        <pc:spChg chg="add mod topLvl">
          <ac:chgData name="Yahya ElAli" userId="06a635446fb54665" providerId="LiveId" clId="{A4E57CDE-EF07-4E15-AAD1-13F7466EC88C}" dt="2025-04-26T13:18:07.063" v="642" actId="165"/>
          <ac:spMkLst>
            <pc:docMk/>
            <pc:sldMk cId="2174555944" sldId="2147479204"/>
            <ac:spMk id="11" creationId="{3DB343E1-DA51-2096-06B6-0F2565F93C95}"/>
          </ac:spMkLst>
        </pc:spChg>
        <pc:spChg chg="add mod topLvl">
          <ac:chgData name="Yahya ElAli" userId="06a635446fb54665" providerId="LiveId" clId="{A4E57CDE-EF07-4E15-AAD1-13F7466EC88C}" dt="2025-04-26T13:18:07.063" v="642" actId="165"/>
          <ac:spMkLst>
            <pc:docMk/>
            <pc:sldMk cId="2174555944" sldId="2147479204"/>
            <ac:spMk id="13" creationId="{375F03DC-3C65-D239-F489-B08443F9FE3D}"/>
          </ac:spMkLst>
        </pc:spChg>
        <pc:spChg chg="add del mod topLvl">
          <ac:chgData name="Yahya ElAli" userId="06a635446fb54665" providerId="LiveId" clId="{A4E57CDE-EF07-4E15-AAD1-13F7466EC88C}" dt="2025-04-26T13:17:53.081" v="638" actId="478"/>
          <ac:spMkLst>
            <pc:docMk/>
            <pc:sldMk cId="2174555944" sldId="2147479204"/>
            <ac:spMk id="14" creationId="{54E5B450-85DC-CADA-F926-AF1E7B38565E}"/>
          </ac:spMkLst>
        </pc:spChg>
        <pc:spChg chg="add mod">
          <ac:chgData name="Yahya ElAli" userId="06a635446fb54665" providerId="LiveId" clId="{A4E57CDE-EF07-4E15-AAD1-13F7466EC88C}" dt="2025-04-26T13:16:55.980" v="617" actId="20577"/>
          <ac:spMkLst>
            <pc:docMk/>
            <pc:sldMk cId="2174555944" sldId="2147479204"/>
            <ac:spMk id="16" creationId="{D406156C-7CF2-DFBE-87E6-EBAAD83A9448}"/>
          </ac:spMkLst>
        </pc:spChg>
        <pc:spChg chg="add mod">
          <ac:chgData name="Yahya ElAli" userId="06a635446fb54665" providerId="LiveId" clId="{A4E57CDE-EF07-4E15-AAD1-13F7466EC88C}" dt="2025-04-26T13:17:05.230" v="630" actId="20577"/>
          <ac:spMkLst>
            <pc:docMk/>
            <pc:sldMk cId="2174555944" sldId="2147479204"/>
            <ac:spMk id="17" creationId="{4BD10796-5CB5-ABF6-AE2E-0EB8FBDCA49F}"/>
          </ac:spMkLst>
        </pc:spChg>
        <pc:spChg chg="add mod">
          <ac:chgData name="Yahya ElAli" userId="06a635446fb54665" providerId="LiveId" clId="{A4E57CDE-EF07-4E15-AAD1-13F7466EC88C}" dt="2025-04-26T13:17:02.364" v="628" actId="20577"/>
          <ac:spMkLst>
            <pc:docMk/>
            <pc:sldMk cId="2174555944" sldId="2147479204"/>
            <ac:spMk id="18" creationId="{95E88C54-B46E-E7A6-B212-F0EF4580869F}"/>
          </ac:spMkLst>
        </pc:spChg>
        <pc:spChg chg="add mod">
          <ac:chgData name="Yahya ElAli" userId="06a635446fb54665" providerId="LiveId" clId="{A4E57CDE-EF07-4E15-AAD1-13F7466EC88C}" dt="2025-04-26T13:18:29.157" v="646" actId="14100"/>
          <ac:spMkLst>
            <pc:docMk/>
            <pc:sldMk cId="2174555944" sldId="2147479204"/>
            <ac:spMk id="36" creationId="{23A0E5DD-2A33-40F1-0F8A-9B65AADECA4F}"/>
          </ac:spMkLst>
        </pc:spChg>
        <pc:spChg chg="add mod">
          <ac:chgData name="Yahya ElAli" userId="06a635446fb54665" providerId="LiveId" clId="{A4E57CDE-EF07-4E15-AAD1-13F7466EC88C}" dt="2025-04-26T13:19:55.778" v="648" actId="571"/>
          <ac:spMkLst>
            <pc:docMk/>
            <pc:sldMk cId="2174555944" sldId="2147479204"/>
            <ac:spMk id="44" creationId="{F6161B4B-2CCC-50CF-C5AC-93E12FBE9D00}"/>
          </ac:spMkLst>
        </pc:spChg>
        <pc:grpChg chg="add del mod">
          <ac:chgData name="Yahya ElAli" userId="06a635446fb54665" providerId="LiveId" clId="{A4E57CDE-EF07-4E15-AAD1-13F7466EC88C}" dt="2025-04-26T13:12:14.957" v="475" actId="165"/>
          <ac:grpSpMkLst>
            <pc:docMk/>
            <pc:sldMk cId="2174555944" sldId="2147479204"/>
            <ac:grpSpMk id="12" creationId="{FEF73197-8ADC-172D-B2BF-E3E5489CE647}"/>
          </ac:grpSpMkLst>
        </pc:grpChg>
        <pc:grpChg chg="add del mod">
          <ac:chgData name="Yahya ElAli" userId="06a635446fb54665" providerId="LiveId" clId="{A4E57CDE-EF07-4E15-AAD1-13F7466EC88C}" dt="2025-04-26T13:15:11.146" v="553" actId="165"/>
          <ac:grpSpMkLst>
            <pc:docMk/>
            <pc:sldMk cId="2174555944" sldId="2147479204"/>
            <ac:grpSpMk id="15" creationId="{8AAEA53F-F21A-F404-4BE9-6CDBB533F6F9}"/>
          </ac:grpSpMkLst>
        </pc:grpChg>
        <pc:grpChg chg="add del mod">
          <ac:chgData name="Yahya ElAli" userId="06a635446fb54665" providerId="LiveId" clId="{A4E57CDE-EF07-4E15-AAD1-13F7466EC88C}" dt="2025-04-26T13:18:07.063" v="642" actId="165"/>
          <ac:grpSpMkLst>
            <pc:docMk/>
            <pc:sldMk cId="2174555944" sldId="2147479204"/>
            <ac:grpSpMk id="37" creationId="{5BF9C8F7-D375-1096-6935-72D53F47DB78}"/>
          </ac:grpSpMkLst>
        </pc:grpChg>
        <pc:cxnChg chg="add mod">
          <ac:chgData name="Yahya ElAli" userId="06a635446fb54665" providerId="LiveId" clId="{A4E57CDE-EF07-4E15-AAD1-13F7466EC88C}" dt="2025-04-26T13:18:06.242" v="641" actId="14100"/>
          <ac:cxnSpMkLst>
            <pc:docMk/>
            <pc:sldMk cId="2174555944" sldId="2147479204"/>
            <ac:cxnSpMk id="20" creationId="{BCBEBD7B-A702-2CC3-633B-C07B90CA902A}"/>
          </ac:cxnSpMkLst>
        </pc:cxnChg>
        <pc:cxnChg chg="add mod">
          <ac:chgData name="Yahya ElAli" userId="06a635446fb54665" providerId="LiveId" clId="{A4E57CDE-EF07-4E15-AAD1-13F7466EC88C}" dt="2025-04-26T13:18:06.242" v="641" actId="14100"/>
          <ac:cxnSpMkLst>
            <pc:docMk/>
            <pc:sldMk cId="2174555944" sldId="2147479204"/>
            <ac:cxnSpMk id="21" creationId="{DA390D65-CF4A-04A1-D1A7-A060D58D3885}"/>
          </ac:cxnSpMkLst>
        </pc:cxnChg>
        <pc:cxnChg chg="add del mod">
          <ac:chgData name="Yahya ElAli" userId="06a635446fb54665" providerId="LiveId" clId="{A4E57CDE-EF07-4E15-AAD1-13F7466EC88C}" dt="2025-04-26T13:18:06.242" v="641" actId="14100"/>
          <ac:cxnSpMkLst>
            <pc:docMk/>
            <pc:sldMk cId="2174555944" sldId="2147479204"/>
            <ac:cxnSpMk id="24" creationId="{2F198F06-AB63-B6CE-4881-7A1462D20D6F}"/>
          </ac:cxnSpMkLst>
        </pc:cxnChg>
        <pc:cxnChg chg="add del mod">
          <ac:chgData name="Yahya ElAli" userId="06a635446fb54665" providerId="LiveId" clId="{A4E57CDE-EF07-4E15-AAD1-13F7466EC88C}" dt="2025-04-26T13:17:42.794" v="633" actId="478"/>
          <ac:cxnSpMkLst>
            <pc:docMk/>
            <pc:sldMk cId="2174555944" sldId="2147479204"/>
            <ac:cxnSpMk id="27" creationId="{2CB99DAF-F6C5-60BA-BD1C-AEA04E9305BD}"/>
          </ac:cxnSpMkLst>
        </pc:cxnChg>
        <pc:cxnChg chg="add del mod">
          <ac:chgData name="Yahya ElAli" userId="06a635446fb54665" providerId="LiveId" clId="{A4E57CDE-EF07-4E15-AAD1-13F7466EC88C}" dt="2025-04-26T13:17:41.943" v="632" actId="478"/>
          <ac:cxnSpMkLst>
            <pc:docMk/>
            <pc:sldMk cId="2174555944" sldId="2147479204"/>
            <ac:cxnSpMk id="30" creationId="{FDEFDC60-DB67-E5D8-DA4F-8945FF2089FA}"/>
          </ac:cxnSpMkLst>
        </pc:cxnChg>
        <pc:cxnChg chg="add">
          <ac:chgData name="Yahya ElAli" userId="06a635446fb54665" providerId="LiveId" clId="{A4E57CDE-EF07-4E15-AAD1-13F7466EC88C}" dt="2025-04-26T13:17:13.103" v="631" actId="11529"/>
          <ac:cxnSpMkLst>
            <pc:docMk/>
            <pc:sldMk cId="2174555944" sldId="2147479204"/>
            <ac:cxnSpMk id="34" creationId="{A5724FAC-9DEE-7E85-0E45-F2E13ED958E8}"/>
          </ac:cxnSpMkLst>
        </pc:cxnChg>
        <pc:cxnChg chg="add mod">
          <ac:chgData name="Yahya ElAli" userId="06a635446fb54665" providerId="LiveId" clId="{A4E57CDE-EF07-4E15-AAD1-13F7466EC88C}" dt="2025-04-26T13:18:13.302" v="644" actId="14100"/>
          <ac:cxnSpMkLst>
            <pc:docMk/>
            <pc:sldMk cId="2174555944" sldId="2147479204"/>
            <ac:cxnSpMk id="35" creationId="{09A44D62-C32E-E957-473A-65FB0C46D45F}"/>
          </ac:cxnSpMkLst>
        </pc:cxnChg>
        <pc:cxnChg chg="add">
          <ac:chgData name="Yahya ElAli" userId="06a635446fb54665" providerId="LiveId" clId="{A4E57CDE-EF07-4E15-AAD1-13F7466EC88C}" dt="2025-04-26T13:18:37.395" v="647" actId="11529"/>
          <ac:cxnSpMkLst>
            <pc:docMk/>
            <pc:sldMk cId="2174555944" sldId="2147479204"/>
            <ac:cxnSpMk id="41" creationId="{C52699F1-C3F3-718E-FC95-C87E98690575}"/>
          </ac:cxnSpMkLst>
        </pc:cxnChg>
      </pc:sldChg>
      <pc:sldChg chg="del">
        <pc:chgData name="Yahya ElAli" userId="06a635446fb54665" providerId="LiveId" clId="{A4E57CDE-EF07-4E15-AAD1-13F7466EC88C}" dt="2025-04-26T07:55:47.923" v="67" actId="47"/>
        <pc:sldMkLst>
          <pc:docMk/>
          <pc:sldMk cId="2509092063" sldId="2147479205"/>
        </pc:sldMkLst>
      </pc:sldChg>
      <pc:sldChg chg="addSp delSp modSp mod">
        <pc:chgData name="Yahya ElAli" userId="06a635446fb54665" providerId="LiveId" clId="{A4E57CDE-EF07-4E15-AAD1-13F7466EC88C}" dt="2025-04-26T14:53:50.569" v="3441" actId="5793"/>
        <pc:sldMkLst>
          <pc:docMk/>
          <pc:sldMk cId="1989146208" sldId="2147479206"/>
        </pc:sldMkLst>
        <pc:spChg chg="del">
          <ac:chgData name="Yahya ElAli" userId="06a635446fb54665" providerId="LiveId" clId="{A4E57CDE-EF07-4E15-AAD1-13F7466EC88C}" dt="2025-04-26T07:51:25.969" v="0"/>
          <ac:spMkLst>
            <pc:docMk/>
            <pc:sldMk cId="1989146208" sldId="2147479206"/>
            <ac:spMk id="3" creationId="{C5311FAC-FEEA-8913-117C-71D2FEF1AD84}"/>
          </ac:spMkLst>
        </pc:spChg>
        <pc:spChg chg="add mod">
          <ac:chgData name="Yahya ElAli" userId="06a635446fb54665" providerId="LiveId" clId="{A4E57CDE-EF07-4E15-AAD1-13F7466EC88C}" dt="2025-04-26T14:53:50.569" v="3441" actId="5793"/>
          <ac:spMkLst>
            <pc:docMk/>
            <pc:sldMk cId="1989146208" sldId="2147479206"/>
            <ac:spMk id="7" creationId="{5E7E5693-B679-3BBC-719D-E3FB4BA3E5AB}"/>
          </ac:spMkLst>
        </pc:spChg>
        <pc:graphicFrameChg chg="add mod modGraphic">
          <ac:chgData name="Yahya ElAli" userId="06a635446fb54665" providerId="LiveId" clId="{A4E57CDE-EF07-4E15-AAD1-13F7466EC88C}" dt="2025-04-26T14:20:11.270" v="1450" actId="20577"/>
          <ac:graphicFrameMkLst>
            <pc:docMk/>
            <pc:sldMk cId="1989146208" sldId="2147479206"/>
            <ac:graphicFrameMk id="6" creationId="{AAF7CF63-BAB5-0A6B-D507-6263FAE16747}"/>
          </ac:graphicFrameMkLst>
        </pc:graphicFrameChg>
      </pc:sldChg>
      <pc:sldChg chg="addSp delSp modSp mod">
        <pc:chgData name="Yahya ElAli" userId="06a635446fb54665" providerId="LiveId" clId="{A4E57CDE-EF07-4E15-AAD1-13F7466EC88C}" dt="2025-04-26T14:53:29.368" v="3439" actId="20577"/>
        <pc:sldMkLst>
          <pc:docMk/>
          <pc:sldMk cId="705228560" sldId="2147479207"/>
        </pc:sldMkLst>
        <pc:spChg chg="del">
          <ac:chgData name="Yahya ElAli" userId="06a635446fb54665" providerId="LiveId" clId="{A4E57CDE-EF07-4E15-AAD1-13F7466EC88C}" dt="2025-04-26T07:56:20.298" v="68"/>
          <ac:spMkLst>
            <pc:docMk/>
            <pc:sldMk cId="705228560" sldId="2147479207"/>
            <ac:spMk id="3" creationId="{075AB192-A2C8-176A-6779-185C74CCD893}"/>
          </ac:spMkLst>
        </pc:spChg>
        <pc:spChg chg="add mod">
          <ac:chgData name="Yahya ElAli" userId="06a635446fb54665" providerId="LiveId" clId="{A4E57CDE-EF07-4E15-AAD1-13F7466EC88C}" dt="2025-04-26T14:53:29.368" v="3439" actId="20577"/>
          <ac:spMkLst>
            <pc:docMk/>
            <pc:sldMk cId="705228560" sldId="2147479207"/>
            <ac:spMk id="8" creationId="{23D161A8-6620-6DA1-EE40-B3C524FA5EAC}"/>
          </ac:spMkLst>
        </pc:spChg>
        <pc:graphicFrameChg chg="add mod modGraphic">
          <ac:chgData name="Yahya ElAli" userId="06a635446fb54665" providerId="LiveId" clId="{A4E57CDE-EF07-4E15-AAD1-13F7466EC88C}" dt="2025-04-26T14:51:23.758" v="3210" actId="207"/>
          <ac:graphicFrameMkLst>
            <pc:docMk/>
            <pc:sldMk cId="705228560" sldId="2147479207"/>
            <ac:graphicFrameMk id="7" creationId="{BCD236A1-9501-F7DB-8266-67386460F994}"/>
          </ac:graphicFrameMkLst>
        </pc:graphicFrameChg>
      </pc:sldChg>
      <pc:sldChg chg="addSp delSp modSp mod chgLayout">
        <pc:chgData name="Yahya ElAli" userId="06a635446fb54665" providerId="LiveId" clId="{A4E57CDE-EF07-4E15-AAD1-13F7466EC88C}" dt="2025-04-26T15:11:48.878" v="4524" actId="20577"/>
        <pc:sldMkLst>
          <pc:docMk/>
          <pc:sldMk cId="2559721154" sldId="2147479208"/>
        </pc:sldMkLst>
        <pc:spChg chg="mod ord">
          <ac:chgData name="Yahya ElAli" userId="06a635446fb54665" providerId="LiveId" clId="{A4E57CDE-EF07-4E15-AAD1-13F7466EC88C}" dt="2025-04-26T08:07:20.418" v="262" actId="948"/>
          <ac:spMkLst>
            <pc:docMk/>
            <pc:sldMk cId="2559721154" sldId="2147479208"/>
            <ac:spMk id="2" creationId="{CA9E325A-45AF-4E3A-F73C-881B78779E4F}"/>
          </ac:spMkLst>
        </pc:spChg>
        <pc:spChg chg="del">
          <ac:chgData name="Yahya ElAli" userId="06a635446fb54665" providerId="LiveId" clId="{A4E57CDE-EF07-4E15-AAD1-13F7466EC88C}" dt="2025-04-26T08:07:03.254" v="260" actId="478"/>
          <ac:spMkLst>
            <pc:docMk/>
            <pc:sldMk cId="2559721154" sldId="2147479208"/>
            <ac:spMk id="3" creationId="{9B7FA7C8-BFC8-F132-654B-32E5CE9B0556}"/>
          </ac:spMkLst>
        </pc:spChg>
        <pc:spChg chg="add del mod ord">
          <ac:chgData name="Yahya ElAli" userId="06a635446fb54665" providerId="LiveId" clId="{A4E57CDE-EF07-4E15-AAD1-13F7466EC88C}" dt="2025-04-26T08:07:21.167" v="288"/>
          <ac:spMkLst>
            <pc:docMk/>
            <pc:sldMk cId="2559721154" sldId="2147479208"/>
            <ac:spMk id="8" creationId="{7B641519-E697-5B33-7702-6CCFD320714F}"/>
          </ac:spMkLst>
        </pc:spChg>
        <pc:spChg chg="add del mod modVis">
          <ac:chgData name="Yahya ElAli" userId="06a635446fb54665" providerId="LiveId" clId="{A4E57CDE-EF07-4E15-AAD1-13F7466EC88C}" dt="2025-04-26T08:07:20.459" v="285"/>
          <ac:spMkLst>
            <pc:docMk/>
            <pc:sldMk cId="2559721154" sldId="2147479208"/>
            <ac:spMk id="9" creationId="{DEF41140-D94D-7463-21E1-83CD8F502580}"/>
          </ac:spMkLst>
        </pc:spChg>
        <pc:graphicFrameChg chg="mod">
          <ac:chgData name="Yahya ElAli" userId="06a635446fb54665" providerId="LiveId" clId="{A4E57CDE-EF07-4E15-AAD1-13F7466EC88C}" dt="2025-04-26T08:07:20.460" v="287"/>
          <ac:graphicFrameMkLst>
            <pc:docMk/>
            <pc:sldMk cId="2559721154" sldId="2147479208"/>
            <ac:graphicFrameMk id="5" creationId="{3C877BCE-288C-074C-908C-F233212B2219}"/>
          </ac:graphicFrameMkLst>
        </pc:graphicFrameChg>
        <pc:graphicFrameChg chg="add mod modGraphic">
          <ac:chgData name="Yahya ElAli" userId="06a635446fb54665" providerId="LiveId" clId="{A4E57CDE-EF07-4E15-AAD1-13F7466EC88C}" dt="2025-04-26T15:11:48.878" v="4524" actId="20577"/>
          <ac:graphicFrameMkLst>
            <pc:docMk/>
            <pc:sldMk cId="2559721154" sldId="2147479208"/>
            <ac:graphicFrameMk id="10" creationId="{AF360C62-9B75-A1AC-DBA3-E4D6A87DE9DD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ACEBD-56A0-46F5-A78C-79E332E6E826}" type="datetimeFigureOut">
              <a:rPr lang="en-GB" smtClean="0"/>
              <a:t>26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657850-3B42-42EB-9677-A867260C1B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526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157878-D7F7-483E-87FB-E127414B4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361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157878-D7F7-483E-87FB-E127414B4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609364"/>
            <a:ext cx="11277601" cy="1220719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600" b="1">
                <a:solidFill>
                  <a:schemeClr val="accent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j-cs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TYPE YOUR TITLE IN NO MORE THAN THREE LINES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0084"/>
            <a:ext cx="11277602" cy="307777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Type your subtitle here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5404351"/>
            <a:ext cx="10261233" cy="646331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Date</a:t>
            </a:r>
            <a:br>
              <a:rPr lang="en-GB" dirty="0"/>
            </a:br>
            <a:br>
              <a:rPr lang="en-GB" dirty="0"/>
            </a:br>
            <a:r>
              <a:rPr lang="en-GB" dirty="0"/>
              <a:t>Presenter, Location (optional) | Presenter 2, Location 2 (optional) | etc.</a:t>
            </a:r>
          </a:p>
        </p:txBody>
      </p:sp>
      <p:sp>
        <p:nvSpPr>
          <p:cNvPr id="13" name="DTP_Attribute"/>
          <p:cNvSpPr txBox="1"/>
          <p:nvPr userDrawn="1"/>
        </p:nvSpPr>
        <p:spPr>
          <a:xfrm>
            <a:off x="457200" y="6552456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endParaRPr lang="en-GB" sz="1000" b="1" cap="all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22664F-6A6E-149D-40E0-B72FF7FE94C8}"/>
              </a:ext>
            </a:extLst>
          </p:cNvPr>
          <p:cNvSpPr txBox="1"/>
          <p:nvPr userDrawn="1"/>
        </p:nvSpPr>
        <p:spPr>
          <a:xfrm>
            <a:off x="468489" y="6547557"/>
            <a:ext cx="20771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kern="0" dirty="0">
                <a:solidFill>
                  <a:schemeClr val="tx1"/>
                </a:solidFill>
              </a:rPr>
              <a:t>© Doojo</a:t>
            </a:r>
            <a:endParaRPr lang="en-AE" sz="10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2819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54102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24600" y="1883664"/>
            <a:ext cx="54102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1508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57200" y="400507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57200" y="4489704"/>
            <a:ext cx="112776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0723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523">
          <p15:clr>
            <a:srgbClr val="FBAE40"/>
          </p15:clr>
        </p15:guide>
        <p15:guide id="5" orient="horz" pos="880">
          <p15:clr>
            <a:srgbClr val="FBAE40"/>
          </p15:clr>
        </p15:guide>
        <p15:guide id="6" orient="horz" pos="2832">
          <p15:clr>
            <a:srgbClr val="FBAE40"/>
          </p15:clr>
        </p15:guide>
        <p15:guide id="8" orient="horz" pos="11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34544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368799" y="1399032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73660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05067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2464">
          <p15:clr>
            <a:srgbClr val="FBAE40"/>
          </p15:clr>
        </p15:guide>
        <p15:guide id="7" pos="2752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4 </a:t>
            </a:r>
            <a:r>
              <a:rPr dirty="0" err="1"/>
              <a:t>pt</a:t>
            </a:r>
            <a:endParaRPr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199" y="1883664"/>
            <a:ext cx="73660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280400" y="1883664"/>
            <a:ext cx="34544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65321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4928">
          <p15:clr>
            <a:srgbClr val="FBAE40"/>
          </p15:clr>
        </p15:guide>
        <p15:guide id="7" pos="5216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399032"/>
            <a:ext cx="3454400" cy="5001768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368799" y="1399032"/>
            <a:ext cx="3454400" cy="5001768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280400" y="1399032"/>
            <a:ext cx="3454400" cy="5001768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12641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5216">
          <p15:clr>
            <a:srgbClr val="FBAE40"/>
          </p15:clr>
        </p15:guide>
        <p15:guide id="4" pos="2752">
          <p15:clr>
            <a:srgbClr val="FBAE40"/>
          </p15:clr>
        </p15:guide>
        <p15:guide id="5" pos="4928">
          <p15:clr>
            <a:srgbClr val="FBAE40"/>
          </p15:clr>
        </p15:guide>
        <p15:guide id="6" pos="24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368800" y="1399032"/>
            <a:ext cx="34543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294478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8" pos="5216">
          <p15:clr>
            <a:srgbClr val="FBAE40"/>
          </p15:clr>
        </p15:guide>
        <p15:guide id="10" pos="2752">
          <p15:clr>
            <a:srgbClr val="FBAE40"/>
          </p15:clr>
        </p15:guide>
        <p15:guide id="11" pos="4928">
          <p15:clr>
            <a:srgbClr val="FBAE40"/>
          </p15:clr>
        </p15:guide>
        <p15:guide id="12" pos="2464">
          <p15:clr>
            <a:srgbClr val="FBAE40"/>
          </p15:clr>
        </p15:guide>
        <p15:guide id="14" orient="horz" pos="11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34544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368799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34544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280400" y="1883664"/>
            <a:ext cx="34544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923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8" pos="2464">
          <p15:clr>
            <a:srgbClr val="FBAE40"/>
          </p15:clr>
        </p15:guide>
        <p15:guide id="9" pos="2752">
          <p15:clr>
            <a:srgbClr val="FBAE40"/>
          </p15:clr>
        </p15:guide>
        <p15:guide id="10" pos="4928">
          <p15:clr>
            <a:srgbClr val="FBAE40"/>
          </p15:clr>
        </p15:guide>
        <p15:guide id="11" pos="5216">
          <p15:clr>
            <a:srgbClr val="FBAE40"/>
          </p15:clr>
        </p15:guide>
        <p15:guide id="13" orient="horz" pos="11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4 </a:t>
            </a:r>
            <a:r>
              <a:rPr dirty="0" err="1"/>
              <a:t>pt</a:t>
            </a:r>
            <a:endParaRPr dirty="0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199" y="1883664"/>
            <a:ext cx="24765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Heading Middle Left"/>
          <p:cNvSpPr>
            <a:spLocks noGrp="1"/>
          </p:cNvSpPr>
          <p:nvPr>
            <p:ph type="body" idx="13" hasCustomPrompt="1"/>
          </p:nvPr>
        </p:nvSpPr>
        <p:spPr>
          <a:xfrm>
            <a:off x="3390900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6" name="Content Middle Left"/>
          <p:cNvSpPr>
            <a:spLocks noGrp="1"/>
          </p:cNvSpPr>
          <p:nvPr>
            <p:ph sz="quarter" idx="12"/>
          </p:nvPr>
        </p:nvSpPr>
        <p:spPr>
          <a:xfrm>
            <a:off x="3390900" y="1883664"/>
            <a:ext cx="24765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Heading Middle Right"/>
          <p:cNvSpPr>
            <a:spLocks noGrp="1"/>
          </p:cNvSpPr>
          <p:nvPr>
            <p:ph type="body" idx="15" hasCustomPrompt="1"/>
          </p:nvPr>
        </p:nvSpPr>
        <p:spPr>
          <a:xfrm>
            <a:off x="6324600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Middle Right"/>
          <p:cNvSpPr>
            <a:spLocks noGrp="1"/>
          </p:cNvSpPr>
          <p:nvPr>
            <p:ph sz="quarter" idx="14"/>
          </p:nvPr>
        </p:nvSpPr>
        <p:spPr>
          <a:xfrm>
            <a:off x="6324600" y="1883664"/>
            <a:ext cx="24765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Heading Right"/>
          <p:cNvSpPr>
            <a:spLocks noGrp="1"/>
          </p:cNvSpPr>
          <p:nvPr>
            <p:ph type="body" idx="17" hasCustomPrompt="1"/>
          </p:nvPr>
        </p:nvSpPr>
        <p:spPr>
          <a:xfrm>
            <a:off x="9258300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Right"/>
          <p:cNvSpPr>
            <a:spLocks noGrp="1"/>
          </p:cNvSpPr>
          <p:nvPr>
            <p:ph sz="quarter" idx="16"/>
          </p:nvPr>
        </p:nvSpPr>
        <p:spPr>
          <a:xfrm>
            <a:off x="9258300" y="1883664"/>
            <a:ext cx="24765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87846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10" pos="2136">
          <p15:clr>
            <a:srgbClr val="FBAE40"/>
          </p15:clr>
        </p15:guide>
        <p15:guide id="11" pos="3696">
          <p15:clr>
            <a:srgbClr val="FBAE40"/>
          </p15:clr>
        </p15:guide>
        <p15:guide id="12" pos="1848">
          <p15:clr>
            <a:srgbClr val="FBAE40"/>
          </p15:clr>
        </p15:guide>
        <p15:guide id="13" pos="3984">
          <p15:clr>
            <a:srgbClr val="FBAE40"/>
          </p15:clr>
        </p15:guide>
        <p15:guide id="14" pos="5544">
          <p15:clr>
            <a:srgbClr val="FBAE40"/>
          </p15:clr>
        </p15:guide>
        <p15:guide id="15" pos="5832">
          <p15:clr>
            <a:srgbClr val="FBAE40"/>
          </p15:clr>
        </p15:guide>
        <p15:guide id="17" orient="horz" pos="11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18923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Heading Middle Left"/>
          <p:cNvSpPr>
            <a:spLocks noGrp="1"/>
          </p:cNvSpPr>
          <p:nvPr>
            <p:ph type="body" idx="13" hasCustomPrompt="1"/>
          </p:nvPr>
        </p:nvSpPr>
        <p:spPr>
          <a:xfrm>
            <a:off x="28067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6" name="Content Middle Left"/>
          <p:cNvSpPr>
            <a:spLocks noGrp="1"/>
          </p:cNvSpPr>
          <p:nvPr>
            <p:ph sz="quarter" idx="12"/>
          </p:nvPr>
        </p:nvSpPr>
        <p:spPr>
          <a:xfrm>
            <a:off x="2806700" y="1883664"/>
            <a:ext cx="18923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Heading Middle"/>
          <p:cNvSpPr>
            <a:spLocks noGrp="1"/>
          </p:cNvSpPr>
          <p:nvPr>
            <p:ph type="body" idx="15" hasCustomPrompt="1"/>
          </p:nvPr>
        </p:nvSpPr>
        <p:spPr>
          <a:xfrm>
            <a:off x="5156200" y="1399032"/>
            <a:ext cx="1879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Middle"/>
          <p:cNvSpPr>
            <a:spLocks noGrp="1"/>
          </p:cNvSpPr>
          <p:nvPr>
            <p:ph sz="quarter" idx="14"/>
          </p:nvPr>
        </p:nvSpPr>
        <p:spPr>
          <a:xfrm>
            <a:off x="5156200" y="1883664"/>
            <a:ext cx="18796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Heading Middle Right"/>
          <p:cNvSpPr>
            <a:spLocks noGrp="1"/>
          </p:cNvSpPr>
          <p:nvPr>
            <p:ph type="body" idx="17" hasCustomPrompt="1"/>
          </p:nvPr>
        </p:nvSpPr>
        <p:spPr>
          <a:xfrm>
            <a:off x="74930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Middle Right"/>
          <p:cNvSpPr>
            <a:spLocks noGrp="1"/>
          </p:cNvSpPr>
          <p:nvPr>
            <p:ph sz="quarter" idx="16"/>
          </p:nvPr>
        </p:nvSpPr>
        <p:spPr>
          <a:xfrm>
            <a:off x="7493000" y="1883664"/>
            <a:ext cx="18923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0" name="Heading Right">
            <a:extLst>
              <a:ext uri="{FF2B5EF4-FFF2-40B4-BE49-F238E27FC236}">
                <a16:creationId xmlns:a16="http://schemas.microsoft.com/office/drawing/2014/main" id="{28D70AB5-46A8-4A97-AAB4-47C1BD4B837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8425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21" name="Content Right">
            <a:extLst>
              <a:ext uri="{FF2B5EF4-FFF2-40B4-BE49-F238E27FC236}">
                <a16:creationId xmlns:a16="http://schemas.microsoft.com/office/drawing/2014/main" id="{8E85D35B-391E-43DD-85C1-F9607552878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842500" y="1883664"/>
            <a:ext cx="18923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6576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1480">
          <p15:clr>
            <a:srgbClr val="FBAE40"/>
          </p15:clr>
        </p15:guide>
        <p15:guide id="7" pos="1768">
          <p15:clr>
            <a:srgbClr val="FBAE40"/>
          </p15:clr>
        </p15:guide>
        <p15:guide id="8" pos="2960">
          <p15:clr>
            <a:srgbClr val="FBAE40"/>
          </p15:clr>
        </p15:guide>
        <p15:guide id="9" pos="3248">
          <p15:clr>
            <a:srgbClr val="FBAE40"/>
          </p15:clr>
        </p15:guide>
        <p15:guide id="10" pos="4432">
          <p15:clr>
            <a:srgbClr val="FBAE40"/>
          </p15:clr>
        </p15:guide>
        <p15:guide id="11" pos="4720">
          <p15:clr>
            <a:srgbClr val="FBAE40"/>
          </p15:clr>
        </p15:guide>
        <p15:guide id="12" pos="5912">
          <p15:clr>
            <a:srgbClr val="FBAE40"/>
          </p15:clr>
        </p15:guide>
        <p15:guide id="13" pos="6200">
          <p15:clr>
            <a:srgbClr val="FBAE40"/>
          </p15:clr>
        </p15:guide>
        <p15:guide id="15" orient="horz" pos="11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4 </a:t>
            </a:r>
            <a:r>
              <a:rPr dirty="0" err="1"/>
              <a:t>pt</a:t>
            </a:r>
            <a:endParaRPr dirty="0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4102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24600" y="1399032"/>
            <a:ext cx="54101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2"/>
          </p:nvPr>
        </p:nvSpPr>
        <p:spPr>
          <a:xfrm>
            <a:off x="6324600" y="1883664"/>
            <a:ext cx="5410199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57200" y="400507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4"/>
          </p:nvPr>
        </p:nvSpPr>
        <p:spPr>
          <a:xfrm>
            <a:off x="457200" y="4489704"/>
            <a:ext cx="54102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24600" y="4005072"/>
            <a:ext cx="54101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16"/>
          </p:nvPr>
        </p:nvSpPr>
        <p:spPr>
          <a:xfrm>
            <a:off x="6324600" y="4489704"/>
            <a:ext cx="5410199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41269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10" pos="3984">
          <p15:clr>
            <a:srgbClr val="FBAE40"/>
          </p15:clr>
        </p15:guide>
        <p15:guide id="14" pos="3696">
          <p15:clr>
            <a:srgbClr val="FBAE40"/>
          </p15:clr>
        </p15:guide>
        <p15:guide id="15" orient="horz" pos="1184">
          <p15:clr>
            <a:srgbClr val="FBAE40"/>
          </p15:clr>
        </p15:guide>
        <p15:guide id="17" orient="horz" pos="2832">
          <p15:clr>
            <a:srgbClr val="FBAE40"/>
          </p15:clr>
        </p15:guide>
        <p15:guide id="18" orient="horz" pos="25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64FF26-D156-4F0D-8993-F7AC024CE8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15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64FF26-D156-4F0D-8993-F7AC024CE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b="1" i="0">
                <a:solidFill>
                  <a:schemeClr val="accent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457200" y="1399032"/>
            <a:ext cx="11277600" cy="5001768"/>
          </a:xfrm>
        </p:spPr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58758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34544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368799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34544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14"/>
          </p:nvPr>
        </p:nvSpPr>
        <p:spPr>
          <a:xfrm>
            <a:off x="8280400" y="1883664"/>
            <a:ext cx="34544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57200" y="400507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16"/>
          </p:nvPr>
        </p:nvSpPr>
        <p:spPr>
          <a:xfrm>
            <a:off x="457200" y="4489704"/>
            <a:ext cx="34544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368799" y="400507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18"/>
          </p:nvPr>
        </p:nvSpPr>
        <p:spPr>
          <a:xfrm>
            <a:off x="4368799" y="4489704"/>
            <a:ext cx="34544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280400" y="400507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0"/>
          </p:nvPr>
        </p:nvSpPr>
        <p:spPr>
          <a:xfrm>
            <a:off x="8280400" y="4489704"/>
            <a:ext cx="3454400" cy="191109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23427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pos="2752">
          <p15:clr>
            <a:srgbClr val="FBAE40"/>
          </p15:clr>
        </p15:guide>
        <p15:guide id="14" pos="5216">
          <p15:clr>
            <a:srgbClr val="FBAE40"/>
          </p15:clr>
        </p15:guide>
        <p15:guide id="18" pos="2464">
          <p15:clr>
            <a:srgbClr val="FBAE40"/>
          </p15:clr>
        </p15:guide>
        <p15:guide id="20" pos="4928">
          <p15:clr>
            <a:srgbClr val="FBAE40"/>
          </p15:clr>
        </p15:guide>
        <p15:guide id="21" orient="horz" pos="2520">
          <p15:clr>
            <a:srgbClr val="FBAE40"/>
          </p15:clr>
        </p15:guide>
        <p15:guide id="24" orient="horz" pos="880">
          <p15:clr>
            <a:srgbClr val="FBAE40"/>
          </p15:clr>
        </p15:guide>
        <p15:guide id="25" orient="horz" pos="1184">
          <p15:clr>
            <a:srgbClr val="FBAE40"/>
          </p15:clr>
        </p15:guide>
        <p15:guide id="27" orient="horz" pos="28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- bio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Line"/>
          <p:cNvCxnSpPr/>
          <p:nvPr userDrawn="1"/>
        </p:nvCxnSpPr>
        <p:spPr>
          <a:xfrm>
            <a:off x="3911600" y="0"/>
            <a:ext cx="0" cy="68580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4114800"/>
            <a:ext cx="2997200" cy="734155"/>
          </a:xfrm>
        </p:spPr>
        <p:txBody>
          <a:bodyPr anchor="b">
            <a:noAutofit/>
          </a:bodyPr>
          <a:lstStyle>
            <a:lvl1pPr algn="ctr">
              <a:defRPr sz="24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dirty="0"/>
              <a:t>Name</a:t>
            </a:r>
          </a:p>
        </p:txBody>
      </p:sp>
      <p:sp>
        <p:nvSpPr>
          <p:cNvPr id="5" name="Role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848955"/>
            <a:ext cx="2997200" cy="429768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 b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Role &amp; Position</a:t>
            </a:r>
          </a:p>
        </p:txBody>
      </p:sp>
      <p:sp>
        <p:nvSpPr>
          <p:cNvPr id="7" name="Headshot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57200" y="786128"/>
            <a:ext cx="2997200" cy="2997200"/>
          </a:xfrm>
          <a:prstGeom prst="ellipse">
            <a:avLst/>
          </a:prstGeom>
          <a:solidFill>
            <a:srgbClr val="EBEBEB"/>
          </a:solidFill>
        </p:spPr>
        <p:txBody>
          <a:bodyPr tIns="868680" anchor="ctr"/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dirty="0"/>
              <a:t>Click icon to add headshot</a:t>
            </a:r>
          </a:p>
        </p:txBody>
      </p:sp>
      <p:sp>
        <p:nvSpPr>
          <p:cNvPr id="6" name="Content"/>
          <p:cNvSpPr>
            <a:spLocks noGrp="1"/>
          </p:cNvSpPr>
          <p:nvPr>
            <p:ph type="body" sz="quarter" idx="11"/>
          </p:nvPr>
        </p:nvSpPr>
        <p:spPr>
          <a:xfrm>
            <a:off x="4368799" y="381000"/>
            <a:ext cx="7366000" cy="6019800"/>
          </a:xfrm>
        </p:spPr>
        <p:txBody>
          <a:bodyPr/>
          <a:lstStyle>
            <a:lvl1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8370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7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ontents</a:t>
            </a:r>
            <a:endParaRPr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A43E9D-C3DE-997F-3906-D8442903B2D1}"/>
              </a:ext>
            </a:extLst>
          </p:cNvPr>
          <p:cNvSpPr txBox="1"/>
          <p:nvPr userDrawn="1"/>
        </p:nvSpPr>
        <p:spPr>
          <a:xfrm>
            <a:off x="468489" y="6547557"/>
            <a:ext cx="20771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kern="0" dirty="0">
                <a:solidFill>
                  <a:schemeClr val="tx1"/>
                </a:solidFill>
              </a:rPr>
              <a:t>© Doojo</a:t>
            </a:r>
            <a:endParaRPr lang="en-AE" sz="10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892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E84820-0653-4D58-8536-01213223A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3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E84820-0653-4D58-8536-01213223A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D18CED8-6465-85B6-2C9B-0F21D7325AFE}"/>
              </a:ext>
            </a:extLst>
          </p:cNvPr>
          <p:cNvSpPr txBox="1"/>
          <p:nvPr userDrawn="1"/>
        </p:nvSpPr>
        <p:spPr>
          <a:xfrm>
            <a:off x="468489" y="6547557"/>
            <a:ext cx="20771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kern="0" dirty="0">
                <a:solidFill>
                  <a:schemeClr val="tx1"/>
                </a:solidFill>
              </a:rPr>
              <a:t>© Doojo</a:t>
            </a:r>
            <a:endParaRPr lang="en-AE" sz="10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632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550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2D09C0-7F5F-409B-B47D-8F1BEDEEC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94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2D09C0-7F5F-409B-B47D-8F1BEDEEC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algn="l" defTabSz="9143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0" cap="all" baseline="0" dirty="0">
                <a:solidFill>
                  <a:schemeClr val="accent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220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487F2C-711E-400B-8B2E-7230253C97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44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487F2C-711E-400B-8B2E-7230253C9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4149258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5" orient="horz" pos="11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66A963-4927-4AD1-BBD7-F9A62C4A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85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66A963-4927-4AD1-BBD7-F9A62C4A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656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6" orient="horz" pos="11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ortrait 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63C4256-FB04-439A-992B-410C42319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7365998" cy="758952"/>
          </a:xfrm>
        </p:spPr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sz="half" idx="11"/>
          </p:nvPr>
        </p:nvSpPr>
        <p:spPr>
          <a:xfrm>
            <a:off x="457198" y="1883664"/>
            <a:ext cx="7366000" cy="4517136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0D3F1C2C-B46E-4074-AA0F-9EAD49A9905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80400" y="0"/>
            <a:ext cx="3911600" cy="6858000"/>
          </a:xfrm>
        </p:spPr>
        <p:txBody>
          <a:bodyPr tIns="640080" anchor="ctr"/>
          <a:lstStyle>
            <a:lvl1pPr marL="0" indent="0" algn="ctr">
              <a:buNone/>
              <a:defRPr sz="1400">
                <a:solidFill>
                  <a:srgbClr val="C3C3C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7719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4" orient="horz" pos="1184">
          <p15:clr>
            <a:srgbClr val="FBAE40"/>
          </p15:clr>
        </p15:guide>
        <p15:guide id="6" pos="4928">
          <p15:clr>
            <a:srgbClr val="FBAE40"/>
          </p15:clr>
        </p15:guide>
        <p15:guide id="9" pos="521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A21C56-FAC6-40B7-BD53-F1A5A96AA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049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A21C56-FAC6-40B7-BD53-F1A5A96AA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ctionTitle">
            <a:extLst>
              <a:ext uri="{FF2B5EF4-FFF2-40B4-BE49-F238E27FC236}">
                <a16:creationId xmlns:a16="http://schemas.microsoft.com/office/drawing/2014/main" id="{712393BD-75E6-4416-A1B5-8AE91612D9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4292049"/>
            <a:ext cx="8348472" cy="1354217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Add section title,</a:t>
            </a:r>
            <a:br>
              <a:rPr dirty="0"/>
            </a:br>
            <a:r>
              <a:rPr dirty="0"/>
              <a:t>press TAB to format as subtitle</a:t>
            </a:r>
          </a:p>
          <a:p>
            <a:pPr lvl="1"/>
            <a:r>
              <a:rPr dirty="0"/>
              <a:t>Section subtitle</a:t>
            </a:r>
          </a:p>
        </p:txBody>
      </p:sp>
      <p:sp>
        <p:nvSpPr>
          <p:cNvPr id="9" name="SectionNumber">
            <a:extLst>
              <a:ext uri="{FF2B5EF4-FFF2-40B4-BE49-F238E27FC236}">
                <a16:creationId xmlns:a16="http://schemas.microsoft.com/office/drawing/2014/main" id="{5E6BDE9F-16AB-4671-9ECD-F1A91D34DE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2967336"/>
            <a:ext cx="8348472" cy="923330"/>
          </a:xfrm>
        </p:spPr>
        <p:txBody>
          <a:bodyPr wrap="square" lIns="0" tIns="0" rIns="0" bIns="0" anchor="b"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b="1">
                <a:solidFill>
                  <a:schemeClr val="accent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0A3BCF-EF57-4BCF-AF6B-65F7C9B915DE}"/>
              </a:ext>
            </a:extLst>
          </p:cNvPr>
          <p:cNvSpPr/>
          <p:nvPr userDrawn="1"/>
        </p:nvSpPr>
        <p:spPr>
          <a:xfrm>
            <a:off x="3934884" y="107385"/>
            <a:ext cx="4322233" cy="222815"/>
          </a:xfrm>
          <a:prstGeom prst="rect">
            <a:avLst/>
          </a:prstGeom>
          <a:noFill/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b="1" kern="0" dirty="0">
                <a:solidFill>
                  <a:schemeClr val="bg1"/>
                </a:solidFill>
              </a:rPr>
              <a:t>-- Highly confidential and not for distribution --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0C6741C-3D5D-37A7-CB0E-DEE80C2D46A6}"/>
              </a:ext>
            </a:extLst>
          </p:cNvPr>
          <p:cNvSpPr txBox="1"/>
          <p:nvPr userDrawn="1"/>
        </p:nvSpPr>
        <p:spPr>
          <a:xfrm>
            <a:off x="468489" y="6547557"/>
            <a:ext cx="20771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kern="0" dirty="0">
                <a:solidFill>
                  <a:schemeClr val="tx1"/>
                </a:solidFill>
              </a:rPr>
              <a:t>© Doojo</a:t>
            </a:r>
            <a:endParaRPr lang="en-AE" sz="10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029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57200" y="1399032"/>
            <a:ext cx="5410200" cy="5001768"/>
          </a:xfrm>
        </p:spPr>
        <p:txBody>
          <a:bodyPr/>
          <a:lstStyle>
            <a:lvl1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24600" y="1399032"/>
            <a:ext cx="5410199" cy="5001768"/>
          </a:xfrm>
        </p:spPr>
        <p:txBody>
          <a:bodyPr/>
          <a:lstStyle>
            <a:lvl1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 sz="140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98241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96">
          <p15:clr>
            <a:srgbClr val="FBAE40"/>
          </p15:clr>
        </p15:guide>
        <p15:guide id="5" pos="398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9032"/>
            <a:ext cx="54101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218437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13FF844-0B22-4443-95CE-7EFBC0E43C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8488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13FF844-0B22-4443-95CE-7EFBC0E43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11277600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11277600" cy="5001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tx1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4/26/2025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tx1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888059" y="6552456"/>
            <a:ext cx="15068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US" sz="100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marR="0" indent="0" algn="r" defTabSz="914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5F09C5-B3BC-1883-16F6-363653F78EEC}"/>
              </a:ext>
            </a:extLst>
          </p:cNvPr>
          <p:cNvSpPr txBox="1"/>
          <p:nvPr userDrawn="1"/>
        </p:nvSpPr>
        <p:spPr>
          <a:xfrm>
            <a:off x="468489" y="6547557"/>
            <a:ext cx="20771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kern="0" dirty="0">
                <a:solidFill>
                  <a:schemeClr val="tx1"/>
                </a:solidFill>
              </a:rPr>
              <a:t>© PitchFit</a:t>
            </a:r>
            <a:endParaRPr lang="en-AE" sz="10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578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</p:sldLayoutIdLst>
  <p:txStyles>
    <p:titleStyle>
      <a:lvl1pPr algn="l" defTabSz="914370" rtl="0" eaLnBrk="1" latinLnBrk="0" hangingPunct="1">
        <a:lnSpc>
          <a:spcPct val="90000"/>
        </a:lnSpc>
        <a:spcBef>
          <a:spcPct val="0"/>
        </a:spcBef>
        <a:buNone/>
        <a:defRPr sz="2400" b="1" kern="0" cap="all" baseline="0">
          <a:solidFill>
            <a:schemeClr val="accent1"/>
          </a:solidFill>
          <a:latin typeface="Source Sans Pro" panose="020F0502020204030204" pitchFamily="34" charset="0"/>
          <a:ea typeface="+mj-ea"/>
          <a:cs typeface="Source Sans Pro" panose="020F0502020204030204" pitchFamily="34" charset="0"/>
        </a:defRPr>
      </a:lvl1pPr>
    </p:titleStyle>
    <p:bodyStyle>
      <a:lvl1pPr marL="179994" indent="-179994" algn="l" defTabSz="91437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0">
          <a:solidFill>
            <a:schemeClr val="accent3"/>
          </a:solidFill>
          <a:latin typeface="Source Sans Pro" panose="020B0503030403020204" pitchFamily="34" charset="0"/>
          <a:ea typeface="Source Sans Pro" panose="020B0503030403020204" pitchFamily="34" charset="0"/>
          <a:cs typeface="Poppins Medium" pitchFamily="2" charset="77"/>
        </a:defRPr>
      </a:lvl1pPr>
      <a:lvl2pPr marL="359988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accent3"/>
          </a:solidFill>
          <a:latin typeface="Source Sans Pro" panose="020B0503030403020204" pitchFamily="34" charset="0"/>
          <a:ea typeface="Source Sans Pro" panose="020B0503030403020204" pitchFamily="34" charset="0"/>
          <a:cs typeface="Poppins Medium" pitchFamily="2" charset="77"/>
        </a:defRPr>
      </a:lvl2pPr>
      <a:lvl3pPr marL="539982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accent3"/>
          </a:solidFill>
          <a:latin typeface="Source Sans Pro" panose="020B0503030403020204" pitchFamily="34" charset="0"/>
          <a:ea typeface="Source Sans Pro" panose="020B0503030403020204" pitchFamily="34" charset="0"/>
          <a:cs typeface="Poppins Medium" pitchFamily="2" charset="77"/>
        </a:defRPr>
      </a:lvl3pPr>
      <a:lvl4pPr marL="71997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accent3"/>
          </a:solidFill>
          <a:latin typeface="Source Sans Pro" panose="020B0503030403020204" pitchFamily="34" charset="0"/>
          <a:ea typeface="Source Sans Pro" panose="020B0503030403020204" pitchFamily="34" charset="0"/>
          <a:cs typeface="Poppins Medium" pitchFamily="2" charset="77"/>
        </a:defRPr>
      </a:lvl4pPr>
      <a:lvl5pPr marL="899971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accent3"/>
          </a:solidFill>
          <a:latin typeface="Source Sans Pro" panose="020B0503030403020204" pitchFamily="34" charset="0"/>
          <a:ea typeface="Source Sans Pro" panose="020B0503030403020204" pitchFamily="34" charset="0"/>
          <a:cs typeface="Poppins Medium" pitchFamily="2" charset="77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6" orient="horz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59DC901-5B35-48BB-449E-0DEB35C080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48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9DC901-5B35-48BB-449E-0DEB35C08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FA05CD-6CE3-0AB5-4454-1AF06191A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FIT AND LOSS STATEMENT TEMPLATE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AF7CF63-BAB5-0A6B-D507-6263FAE16747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2642286748"/>
              </p:ext>
            </p:extLst>
          </p:nvPr>
        </p:nvGraphicFramePr>
        <p:xfrm>
          <a:off x="457200" y="1397000"/>
          <a:ext cx="11277600" cy="4078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66447">
                  <a:extLst>
                    <a:ext uri="{9D8B030D-6E8A-4147-A177-3AD203B41FA5}">
                      <a16:colId xmlns:a16="http://schemas.microsoft.com/office/drawing/2014/main" val="3476328675"/>
                    </a:ext>
                  </a:extLst>
                </a:gridCol>
                <a:gridCol w="892810">
                  <a:extLst>
                    <a:ext uri="{9D8B030D-6E8A-4147-A177-3AD203B41FA5}">
                      <a16:colId xmlns:a16="http://schemas.microsoft.com/office/drawing/2014/main" val="2208541543"/>
                    </a:ext>
                  </a:extLst>
                </a:gridCol>
                <a:gridCol w="1331383">
                  <a:extLst>
                    <a:ext uri="{9D8B030D-6E8A-4147-A177-3AD203B41FA5}">
                      <a16:colId xmlns:a16="http://schemas.microsoft.com/office/drawing/2014/main" val="3688674545"/>
                    </a:ext>
                  </a:extLst>
                </a:gridCol>
                <a:gridCol w="1221740">
                  <a:extLst>
                    <a:ext uri="{9D8B030D-6E8A-4147-A177-3AD203B41FA5}">
                      <a16:colId xmlns:a16="http://schemas.microsoft.com/office/drawing/2014/main" val="79087356"/>
                    </a:ext>
                  </a:extLst>
                </a:gridCol>
                <a:gridCol w="1221740">
                  <a:extLst>
                    <a:ext uri="{9D8B030D-6E8A-4147-A177-3AD203B41FA5}">
                      <a16:colId xmlns:a16="http://schemas.microsoft.com/office/drawing/2014/main" val="1539684119"/>
                    </a:ext>
                  </a:extLst>
                </a:gridCol>
                <a:gridCol w="1221740">
                  <a:extLst>
                    <a:ext uri="{9D8B030D-6E8A-4147-A177-3AD203B41FA5}">
                      <a16:colId xmlns:a16="http://schemas.microsoft.com/office/drawing/2014/main" val="634457295"/>
                    </a:ext>
                  </a:extLst>
                </a:gridCol>
                <a:gridCol w="1221740">
                  <a:extLst>
                    <a:ext uri="{9D8B030D-6E8A-4147-A177-3AD203B41FA5}">
                      <a16:colId xmlns:a16="http://schemas.microsoft.com/office/drawing/2014/main" val="1170207871"/>
                    </a:ext>
                  </a:extLst>
                </a:gridCol>
              </a:tblGrid>
              <a:tr h="1478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NL Overview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4</a:t>
                      </a:r>
                      <a:endParaRPr lang="en-AE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en-AE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en-AE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en-AE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en-AE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698290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otal Revenu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US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ad from the total revenue available from the revenue tab</a:t>
                      </a: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024192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otal Cos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ad from the total </a:t>
                      </a:r>
                      <a:r>
                        <a:rPr lang="en-A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x</a:t>
                      </a:r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vailable from the </a:t>
                      </a:r>
                      <a:r>
                        <a:rPr lang="en-A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pex</a:t>
                      </a:r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tab</a:t>
                      </a: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949563"/>
                  </a:ext>
                </a:extLst>
              </a:tr>
              <a:tr h="1602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BITD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revenue – Total Cost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171928615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BITDA Margin</a:t>
                      </a:r>
                      <a:endParaRPr lang="en-US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1200" u="none" strike="noStrike" dirty="0">
                          <a:effectLst/>
                        </a:rPr>
                        <a:t>%</a:t>
                      </a:r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= EBITDA / Total Revenue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324498188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epreciation and Amortiza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Depreciation per annum from the Depreciation tab</a:t>
                      </a: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782619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BI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EBITDA – D&amp;A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658761495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BIT Margin</a:t>
                      </a:r>
                      <a:endParaRPr lang="en-US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1200" u="none" strike="noStrike" dirty="0">
                          <a:effectLst/>
                        </a:rPr>
                        <a:t>%</a:t>
                      </a:r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= EBIT / Revenue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590172341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Net Interest Expens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 be based on the interest schedule to be calculated in new financing tab</a:t>
                      </a: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4368723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a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(EBIT – net interest)* [ assumption (tax rate)]</a:t>
                      </a: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082622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Net Inco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EBIT – Net Interest Expense – Tax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2074620338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Net Marg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1200" u="none" strike="noStrike" dirty="0">
                          <a:effectLst/>
                        </a:rPr>
                        <a:t>%</a:t>
                      </a:r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= Net Income / Revenue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3665800137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Impair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rtl="0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Share of revenue * revenu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; typically set at zero percent unless otherwise specified</a:t>
                      </a:r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182574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Other non-operational income / cost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Share non-operational income * revenue - share non-operational costs * costs</a:t>
                      </a: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0356889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ull Income of the yea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Net Income – Impairment + other non-operational income / costs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2374641271"/>
                  </a:ext>
                </a:extLst>
              </a:tr>
              <a:tr h="14789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Income Margin</a:t>
                      </a:r>
                      <a:endParaRPr lang="en-US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E" sz="1200" u="none" strike="noStrike">
                          <a:effectLst/>
                        </a:rPr>
                        <a:t>%</a:t>
                      </a:r>
                      <a:endParaRPr lang="en-AE" sz="1200" b="0" i="0" u="none" strike="noStrike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= Full Income / Revenue</a:t>
                      </a: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12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48946066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E7E5693-B679-3BBC-719D-E3FB4BA3E5AB}"/>
              </a:ext>
            </a:extLst>
          </p:cNvPr>
          <p:cNvSpPr txBox="1"/>
          <p:nvPr/>
        </p:nvSpPr>
        <p:spPr>
          <a:xfrm>
            <a:off x="457200" y="5536097"/>
            <a:ext cx="114995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kern="0" dirty="0"/>
              <a:t>Note: </a:t>
            </a:r>
          </a:p>
          <a:p>
            <a:pPr marL="342900" indent="-342900">
              <a:buAutoNum type="arabicPeriod"/>
            </a:pPr>
            <a:r>
              <a:rPr lang="en-US" sz="1200" kern="0" dirty="0"/>
              <a:t>Net Interest Expense can only be calculated after doing the financing tab which is dependent on the financing cashflows</a:t>
            </a:r>
          </a:p>
          <a:p>
            <a:pPr marL="342900" indent="-342900">
              <a:buAutoNum type="arabicPeriod"/>
            </a:pPr>
            <a:r>
              <a:rPr lang="en-US" sz="1200" kern="0" dirty="0"/>
              <a:t>Tax would be dependent on the net interest expense</a:t>
            </a:r>
          </a:p>
          <a:p>
            <a:pPr marL="342900" indent="-342900">
              <a:buAutoNum type="arabicPeriod"/>
            </a:pPr>
            <a:r>
              <a:rPr lang="en-GB" sz="1200" kern="0" dirty="0"/>
              <a:t>All else can be calculated now</a:t>
            </a:r>
          </a:p>
        </p:txBody>
      </p:sp>
    </p:spTree>
    <p:extLst>
      <p:ext uri="{BB962C8B-B14F-4D97-AF65-F5344CB8AC3E}">
        <p14:creationId xmlns:p14="http://schemas.microsoft.com/office/powerpoint/2010/main" val="1989146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7D4FDD3-5B78-09E8-C618-A4AAEF465D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2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D4FDD3-5B78-09E8-C618-A4AAEF465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8EEFF9-7B09-A1A3-049E-61FC01109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ALANCE SHEET TEMPLAT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BCD236A1-9501-F7DB-8266-67386460F994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3183326523"/>
              </p:ext>
            </p:extLst>
          </p:nvPr>
        </p:nvGraphicFramePr>
        <p:xfrm>
          <a:off x="457200" y="1398591"/>
          <a:ext cx="11277602" cy="4196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57576">
                  <a:extLst>
                    <a:ext uri="{9D8B030D-6E8A-4147-A177-3AD203B41FA5}">
                      <a16:colId xmlns:a16="http://schemas.microsoft.com/office/drawing/2014/main" val="67455554"/>
                    </a:ext>
                  </a:extLst>
                </a:gridCol>
                <a:gridCol w="848051">
                  <a:extLst>
                    <a:ext uri="{9D8B030D-6E8A-4147-A177-3AD203B41FA5}">
                      <a16:colId xmlns:a16="http://schemas.microsoft.com/office/drawing/2014/main" val="2746585271"/>
                    </a:ext>
                  </a:extLst>
                </a:gridCol>
                <a:gridCol w="1294395">
                  <a:extLst>
                    <a:ext uri="{9D8B030D-6E8A-4147-A177-3AD203B41FA5}">
                      <a16:colId xmlns:a16="http://schemas.microsoft.com/office/drawing/2014/main" val="3132375352"/>
                    </a:ext>
                  </a:extLst>
                </a:gridCol>
                <a:gridCol w="1294395">
                  <a:extLst>
                    <a:ext uri="{9D8B030D-6E8A-4147-A177-3AD203B41FA5}">
                      <a16:colId xmlns:a16="http://schemas.microsoft.com/office/drawing/2014/main" val="3913035530"/>
                    </a:ext>
                  </a:extLst>
                </a:gridCol>
                <a:gridCol w="1294395">
                  <a:extLst>
                    <a:ext uri="{9D8B030D-6E8A-4147-A177-3AD203B41FA5}">
                      <a16:colId xmlns:a16="http://schemas.microsoft.com/office/drawing/2014/main" val="4064235168"/>
                    </a:ext>
                  </a:extLst>
                </a:gridCol>
                <a:gridCol w="1294395">
                  <a:extLst>
                    <a:ext uri="{9D8B030D-6E8A-4147-A177-3AD203B41FA5}">
                      <a16:colId xmlns:a16="http://schemas.microsoft.com/office/drawing/2014/main" val="1798044726"/>
                    </a:ext>
                  </a:extLst>
                </a:gridCol>
                <a:gridCol w="1294395">
                  <a:extLst>
                    <a:ext uri="{9D8B030D-6E8A-4147-A177-3AD203B41FA5}">
                      <a16:colId xmlns:a16="http://schemas.microsoft.com/office/drawing/2014/main" val="319620998"/>
                    </a:ext>
                  </a:extLst>
                </a:gridCol>
              </a:tblGrid>
              <a:tr h="13163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Balance Shee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E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4</a:t>
                      </a:r>
                      <a:endParaRPr lang="en-AE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E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en-AE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en-AE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en-AE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E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en-AE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819984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Asset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current and non-current assets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266228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urrent Asse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cash, trade and other receivables, prepaid expenses, and inventory</a:t>
                      </a:r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358019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ash and cash equivalen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pendent on YoY change in cashflow = Sum of cashflow from Operations, Investing, and Financing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178196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rade and other receivabl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rtl="0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revenue * share of revenue as trade and other receivables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285078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epaid expens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costs * share of costs as prepaid expenses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40826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Inventor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costs * share of costs as inventory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8545355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on-current Asse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PPE, Investments and Long-term receivables</a:t>
                      </a:r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3945093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operty, Plant, and Equipmen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pendent on CapEx, Depreciation, and Sale of Assets 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348956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ong-term receivabl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revenue * share of revenue as long-term receivables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744445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iabilities and Equit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Liabilities and Equity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776570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iabilitie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current liabilities and non-current liabilities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94528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urrent Liabiliti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trade and other payables and unearned revenue</a:t>
                      </a:r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652158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rade and Other Payabl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costs * share of costs as trade and other payables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324399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Unearned Revenu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revenue * share of revenue as unearned revenue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007262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on-current Liabiliti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of long-term borrowings and employee end-of-service benefits</a:t>
                      </a:r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rgbClr val="DDE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060100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ong-term Borrowing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pendent on financing cashflows and new tab to be calculated - financing 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064017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mployee end of service benefi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pendent on personnel cost and assumption (share of cost as end of service benefit)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074396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quit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Sum of all equity components </a:t>
                      </a: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AE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557143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Share Capit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pendent on financing cashflows and new tab to be calculated - financing 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36177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Gran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 be based off assumptions across the perio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331870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egal Reserv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xed assumption to be deployed; typically at least USD 25,000 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336210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Revaluation Reserv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xed assumption to be deployed; typically at least USD 25,000 </a:t>
                      </a:r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101859"/>
                  </a:ext>
                </a:extLst>
              </a:tr>
              <a:tr h="13163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Accumulated Gains / Loss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SD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</a:t>
                      </a:r>
                      <a:r>
                        <a:rPr lang="en-A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be based on the full income of the year once full interest is calculated in</a:t>
                      </a:r>
                    </a:p>
                  </a:txBody>
                  <a:tcPr marL="36000" marR="36000" marT="3600" marB="360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" marB="360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46791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3D161A8-6620-6DA1-EE40-B3C524FA5EAC}"/>
              </a:ext>
            </a:extLst>
          </p:cNvPr>
          <p:cNvSpPr txBox="1"/>
          <p:nvPr/>
        </p:nvSpPr>
        <p:spPr>
          <a:xfrm>
            <a:off x="457200" y="5655365"/>
            <a:ext cx="114995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kern="0" dirty="0"/>
              <a:t>Note: </a:t>
            </a:r>
          </a:p>
          <a:p>
            <a:pPr marL="342900" indent="-342900" algn="l">
              <a:buAutoNum type="arabicPeriod"/>
            </a:pPr>
            <a:r>
              <a:rPr lang="en-US" sz="1200" kern="0" dirty="0"/>
              <a:t>Things in pink cannot be calculated or referenced based on what we currently have; we need more calculations on cashflows</a:t>
            </a:r>
          </a:p>
          <a:p>
            <a:pPr marL="342900" indent="-342900" algn="l">
              <a:buAutoNum type="arabicPeriod"/>
            </a:pPr>
            <a:r>
              <a:rPr lang="en-US" sz="1200" kern="0" dirty="0"/>
              <a:t>All else can be calculated now</a:t>
            </a:r>
          </a:p>
        </p:txBody>
      </p:sp>
    </p:spTree>
    <p:extLst>
      <p:ext uri="{BB962C8B-B14F-4D97-AF65-F5344CB8AC3E}">
        <p14:creationId xmlns:p14="http://schemas.microsoft.com/office/powerpoint/2010/main" val="705228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C877BCE-288C-074C-908C-F233212B2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259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877BCE-288C-074C-908C-F233212B2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9E325A-45AF-4E3A-F73C-881B78779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shflow statement template TEMPLATE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AF360C62-9B75-A1AC-DBA3-E4D6A87DE9DD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1222989311"/>
              </p:ext>
            </p:extLst>
          </p:nvPr>
        </p:nvGraphicFramePr>
        <p:xfrm>
          <a:off x="457200" y="1389844"/>
          <a:ext cx="11277599" cy="51374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31387">
                  <a:extLst>
                    <a:ext uri="{9D8B030D-6E8A-4147-A177-3AD203B41FA5}">
                      <a16:colId xmlns:a16="http://schemas.microsoft.com/office/drawing/2014/main" val="397773285"/>
                    </a:ext>
                  </a:extLst>
                </a:gridCol>
                <a:gridCol w="949517">
                  <a:extLst>
                    <a:ext uri="{9D8B030D-6E8A-4147-A177-3AD203B41FA5}">
                      <a16:colId xmlns:a16="http://schemas.microsoft.com/office/drawing/2014/main" val="3026675970"/>
                    </a:ext>
                  </a:extLst>
                </a:gridCol>
                <a:gridCol w="1299339">
                  <a:extLst>
                    <a:ext uri="{9D8B030D-6E8A-4147-A177-3AD203B41FA5}">
                      <a16:colId xmlns:a16="http://schemas.microsoft.com/office/drawing/2014/main" val="1720775897"/>
                    </a:ext>
                  </a:extLst>
                </a:gridCol>
                <a:gridCol w="1299339">
                  <a:extLst>
                    <a:ext uri="{9D8B030D-6E8A-4147-A177-3AD203B41FA5}">
                      <a16:colId xmlns:a16="http://schemas.microsoft.com/office/drawing/2014/main" val="2070568453"/>
                    </a:ext>
                  </a:extLst>
                </a:gridCol>
                <a:gridCol w="1299339">
                  <a:extLst>
                    <a:ext uri="{9D8B030D-6E8A-4147-A177-3AD203B41FA5}">
                      <a16:colId xmlns:a16="http://schemas.microsoft.com/office/drawing/2014/main" val="2690640051"/>
                    </a:ext>
                  </a:extLst>
                </a:gridCol>
                <a:gridCol w="1299339">
                  <a:extLst>
                    <a:ext uri="{9D8B030D-6E8A-4147-A177-3AD203B41FA5}">
                      <a16:colId xmlns:a16="http://schemas.microsoft.com/office/drawing/2014/main" val="1023392577"/>
                    </a:ext>
                  </a:extLst>
                </a:gridCol>
                <a:gridCol w="1299339">
                  <a:extLst>
                    <a:ext uri="{9D8B030D-6E8A-4147-A177-3AD203B41FA5}">
                      <a16:colId xmlns:a16="http://schemas.microsoft.com/office/drawing/2014/main" val="69305484"/>
                    </a:ext>
                  </a:extLst>
                </a:gridCol>
              </a:tblGrid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Cashflows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E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4</a:t>
                      </a:r>
                      <a:endParaRPr lang="en-AE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5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6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7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8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392962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Operating Cashflow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effectLst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Reference of the operating cashflows below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822027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Investing Cashflow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= Reference of the investing cashflows below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094872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Financing Cashflow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= Reference of the financing cashflows below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539373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YoY Cash Chang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Sum of Operating, Investing, and Financing Cashflow</a:t>
                      </a: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/>
                </a:tc>
                <a:extLst>
                  <a:ext uri="{0D108BD9-81ED-4DB2-BD59-A6C34878D82A}">
                    <a16:rowId xmlns:a16="http://schemas.microsoft.com/office/drawing/2014/main" val="1623231920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Cash Balance by Y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Sum of previous year + sum of this year YoY cash change</a:t>
                      </a: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/>
                </a:tc>
                <a:extLst>
                  <a:ext uri="{0D108BD9-81ED-4DB2-BD59-A6C34878D82A}">
                    <a16:rowId xmlns:a16="http://schemas.microsoft.com/office/drawing/2014/main" val="3446301946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09656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Cashflows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Unit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E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4</a:t>
                      </a:r>
                      <a:endParaRPr lang="en-AE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5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6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7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2028</a:t>
                      </a:r>
                      <a:endParaRPr kumimoji="0" lang="en-AE" sz="10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928260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Operating Cashflow</a:t>
                      </a:r>
                      <a:endParaRPr lang="en-US" sz="105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= Sum of EBIT + D&amp;A + Other Adjustments + Changes in working Capital</a:t>
                      </a: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297786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Earnings (NOPLAT - excluding interest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EBIT – Tax – Other Income / Losses which were calculated on </a:t>
                      </a:r>
                      <a:r>
                        <a:rPr lang="en-AE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nL</a:t>
                      </a:r>
                      <a:endParaRPr lang="en-AE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109335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Depreciation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Depreciation 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0678681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Changes in Working Capital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Unearned Revenue + Trade and Other Payables – Prepaid Expenses – Trade and Other Receivables</a:t>
                      </a: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5998639"/>
                  </a:ext>
                </a:extLst>
              </a:tr>
              <a:tr h="33681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-) Δ Trade and other receivabl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4 Value = 2024 trade and other receivables – 2023 trade and other receivables; 2025 Value = 2025 trade and other receivables – 2024 trade and other receivables; etc.</a:t>
                      </a: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967636"/>
                  </a:ext>
                </a:extLst>
              </a:tr>
              <a:tr h="2245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-) Prepaid expens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4 Value = 2024 prepaid expenses – 2023 prepaid expenses; 2025 Value = 2025 prepaid expenses – 2024 prepaid expenses; etc.</a:t>
                      </a: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705771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u="none" strike="noStrike" dirty="0">
                          <a:effectLst/>
                        </a:rPr>
                        <a:t>(-) Δ </a:t>
                      </a:r>
                      <a:r>
                        <a:rPr lang="en-US" sz="1050" u="none" strike="noStrike" dirty="0">
                          <a:effectLst/>
                        </a:rPr>
                        <a:t>Inventory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4 Value = 2024 Inventory – 2023 Inventory; 2025 Value = 2025 Inventory – 2024 Inventory; etc.</a:t>
                      </a: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630275"/>
                  </a:ext>
                </a:extLst>
              </a:tr>
              <a:tr h="2245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Δ Trade and Other Payabl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4 Value = 2024 Trade and Other Payables – 2023 Trade and Other Payables; 2025 Value = 2025 Trade and Other Payables – 2024 Trade and Other Payables; etc.</a:t>
                      </a: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50139"/>
                  </a:ext>
                </a:extLst>
              </a:tr>
              <a:tr h="2245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Δ Unearned Revenu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4 Value = 2024 Unearned Revenue – 2023 Unearned Revenue; 2025 Value = 2025 Unearned Revenue – 2024 Unearned Revenue; etc.</a:t>
                      </a:r>
                    </a:p>
                  </a:txBody>
                  <a:tcPr marL="36000" marR="3600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634177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Investing Cashflow</a:t>
                      </a:r>
                      <a:endParaRPr lang="en-US" sz="105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= Sum of Cashflow from CapEx and non-CapEx activities</a:t>
                      </a: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577587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Cashflow from CapEx Activit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- CapEx</a:t>
                      </a: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252150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-) CapEx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referencing of CapEx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737925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Cashflow from non-CapEx Activitie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+ Sales or disposal of other assets</a:t>
                      </a:r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7777187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±) Sales or disposal of other asset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= Assumption of disposal of assets – typically set of zero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162115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Financing Cashflow</a:t>
                      </a:r>
                      <a:endParaRPr lang="en-US" sz="105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E" sz="105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= Sum of all below</a:t>
                      </a:r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389422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Equity Raise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 be informed by raise activities 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998881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Grant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 be based off assumptions across the period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410928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+) Debt issue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AE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 be based off Financing calculation tab to be calculated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701439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-) Debt principal repayme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 be based off Financing calculation tab to be calculated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011938"/>
                  </a:ext>
                </a:extLst>
              </a:tr>
              <a:tr h="11341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(-) Interest payme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" panose="02110004020202020204"/>
                          <a:ea typeface="+mn-ea"/>
                          <a:cs typeface="+mn-cs"/>
                        </a:rPr>
                        <a:t>US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3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E" sz="105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 be based off Financing calculation tab to be calculated</a:t>
                      </a:r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4410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9721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iver Wyman">
  <a:themeElements>
    <a:clrScheme name="Pitchfi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1013F"/>
      </a:accent1>
      <a:accent2>
        <a:srgbClr val="55ABFF"/>
      </a:accent2>
      <a:accent3>
        <a:srgbClr val="414141"/>
      </a:accent3>
      <a:accent4>
        <a:srgbClr val="A7A9AC"/>
      </a:accent4>
      <a:accent5>
        <a:srgbClr val="5CB0B9"/>
      </a:accent5>
      <a:accent6>
        <a:srgbClr val="A45498"/>
      </a:accent6>
      <a:hlink>
        <a:srgbClr val="0000EE"/>
      </a:hlink>
      <a:folHlink>
        <a:srgbClr val="551A8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4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kern="0" dirty="0" err="1" smtClean="0"/>
        </a:defPPr>
      </a:lstStyle>
    </a:txDef>
  </a:objectDefaults>
  <a:extraClrSchemeLst/>
  <a:custClrLst>
    <a:custClr name="Dark blue">
      <a:srgbClr val="002C77"/>
    </a:custClr>
    <a:custClr name="Dark gray">
      <a:srgbClr val="565656"/>
    </a:custClr>
    <a:custClr name="Dark green">
      <a:srgbClr val="275D38"/>
    </a:custClr>
    <a:custClr name="Dark yellow">
      <a:srgbClr val="965D00"/>
    </a:custClr>
    <a:custClr name="Dark orange">
      <a:srgbClr val="A32E00"/>
    </a:custClr>
    <a:custClr name="Dark crimson">
      <a:srgbClr val="9A1C1F"/>
    </a:custClr>
    <a:custClr name="Dark pink">
      <a:srgbClr val="B2025B"/>
    </a:custClr>
    <a:custClr name="Dark purple">
      <a:srgbClr val="463282"/>
    </a:custClr>
    <a:custClr name="Dark blue gray">
      <a:srgbClr val="4E6287"/>
    </a:custClr>
    <a:custClr name="Danger red">
      <a:srgbClr val="C53532"/>
    </a:custClr>
    <a:custClr name="Blue">
      <a:srgbClr val="009DE0"/>
    </a:custClr>
    <a:custClr name="Gray">
      <a:srgbClr val="949494"/>
    </a:custClr>
    <a:custClr name="Green">
      <a:srgbClr val="00AC41"/>
    </a:custClr>
    <a:custClr name="Yellow">
      <a:srgbClr val="FFBE00"/>
    </a:custClr>
    <a:custClr name="Orange">
      <a:srgbClr val="FF8C00"/>
    </a:custClr>
    <a:custClr name="Crimson">
      <a:srgbClr val="EF4E45"/>
    </a:custClr>
    <a:custClr name="Pink">
      <a:srgbClr val="EE3D8B"/>
    </a:custClr>
    <a:custClr name="Purple">
      <a:srgbClr val="8246AF"/>
    </a:custClr>
    <a:custClr name="Blue gray">
      <a:srgbClr val="8096B2"/>
    </a:custClr>
    <a:custClr name="Warning yellow">
      <a:srgbClr val="FFBE00"/>
    </a:custClr>
    <a:custClr name="Light blue">
      <a:srgbClr val="76D3FF"/>
    </a:custClr>
    <a:custClr name="Light gray">
      <a:srgbClr val="DADADA"/>
    </a:custClr>
    <a:custClr name="Light green">
      <a:srgbClr val="ADDFB3"/>
    </a:custClr>
    <a:custClr name="Light yellow">
      <a:srgbClr val="FFE580"/>
    </a:custClr>
    <a:custClr name="Light orange">
      <a:srgbClr val="FFCA94"/>
    </a:custClr>
    <a:custClr name="Light crimson">
      <a:srgbClr val="FFAEA6"/>
    </a:custClr>
    <a:custClr name="Light pink">
      <a:srgbClr val="F8ACBE"/>
    </a:custClr>
    <a:custClr name="Light purple">
      <a:srgbClr val="CCB3E0"/>
    </a:custClr>
    <a:custClr name="Light blue gray">
      <a:srgbClr val="BED3E4"/>
    </a:custClr>
    <a:custClr name="Success green">
      <a:srgbClr val="14853D"/>
    </a:custClr>
    <a:custClr name="Table blue">
      <a:srgbClr val="C7EDFF"/>
    </a:custClr>
    <a:custClr name="Table gray">
      <a:srgbClr val="F0F0F0"/>
    </a:custClr>
  </a:custClrLst>
  <a:extLst>
    <a:ext uri="{05A4C25C-085E-4340-85A3-A5531E510DB2}">
      <thm15:themeFamily xmlns:thm15="http://schemas.microsoft.com/office/thememl/2012/main" name="Presentation6" id="{EDFCAC60-0959-4801-9166-85FF0230E632}" vid="{0A0522A0-1772-459A-9F3D-42765AB31A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7</TotalTime>
  <Words>1020</Words>
  <Application>Microsoft Office PowerPoint</Application>
  <PresentationFormat>Widescreen</PresentationFormat>
  <Paragraphs>22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ptos</vt:lpstr>
      <vt:lpstr>Arial</vt:lpstr>
      <vt:lpstr>Calibri</vt:lpstr>
      <vt:lpstr>Source Sans Pro</vt:lpstr>
      <vt:lpstr>Oliver Wyman</vt:lpstr>
      <vt:lpstr>think-cell Slide</vt:lpstr>
      <vt:lpstr>PROFIT AND LOSS STATEMENT TEMPLATE</vt:lpstr>
      <vt:lpstr>BALANCE SHEET TEMPLATE</vt:lpstr>
      <vt:lpstr>Cashflow statement template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ahya ElAli</dc:creator>
  <cp:lastModifiedBy>Yahya ElAli</cp:lastModifiedBy>
  <cp:revision>1</cp:revision>
  <dcterms:created xsi:type="dcterms:W3CDTF">2025-04-26T07:44:49Z</dcterms:created>
  <dcterms:modified xsi:type="dcterms:W3CDTF">2025-04-26T15:12:39Z</dcterms:modified>
</cp:coreProperties>
</file>